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3" r:id="rId5"/>
  </p:sldMasterIdLst>
  <p:notesMasterIdLst>
    <p:notesMasterId r:id="rId7"/>
  </p:notesMasterIdLst>
  <p:handoutMasterIdLst>
    <p:handoutMasterId r:id="rId8"/>
  </p:handoutMasterIdLst>
  <p:sldIdLst>
    <p:sldId id="414" r:id="rId6"/>
  </p:sldIdLst>
  <p:sldSz cx="9144000" cy="6858000" type="screen4x3"/>
  <p:notesSz cx="9856788" cy="679767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0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elipe Quintella" initials="" lastIdx="1" clrIdx="0"/>
  <p:cmAuthor id="1" name="Luiz Henrique Pinheiro Brasil Correa" initials="LHPBC" lastIdx="5" clrIdx="1">
    <p:extLst>
      <p:ext uri="{19B8F6BF-5375-455C-9EA6-DF929625EA0E}">
        <p15:presenceInfo xmlns:p15="http://schemas.microsoft.com/office/powerpoint/2012/main" userId="Luiz Henrique Pinheiro Brasil Corre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FEDAEA"/>
    <a:srgbClr val="990000"/>
    <a:srgbClr val="A50021"/>
    <a:srgbClr val="205081"/>
    <a:srgbClr val="1C2F67"/>
    <a:srgbClr val="FFFFFF"/>
    <a:srgbClr val="1495D3"/>
    <a:srgbClr val="4195D3"/>
    <a:srgbClr val="843C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Estilo com Tema 2 - Ênfas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Estilo Escuro 1 - Ênfas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édio 3 - Ênfas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Estilo Claro 1 - Ênfas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Estilo Claro 2 - Ênfase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5394" autoAdjust="0"/>
  </p:normalViewPr>
  <p:slideViewPr>
    <p:cSldViewPr>
      <p:cViewPr varScale="1">
        <p:scale>
          <a:sx n="114" d="100"/>
          <a:sy n="114" d="100"/>
        </p:scale>
        <p:origin x="1722" y="10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2808"/>
    </p:cViewPr>
  </p:sorterViewPr>
  <p:notesViewPr>
    <p:cSldViewPr>
      <p:cViewPr varScale="1">
        <p:scale>
          <a:sx n="53" d="100"/>
          <a:sy n="53" d="100"/>
        </p:scale>
        <p:origin x="-1902" y="-96"/>
      </p:cViewPr>
      <p:guideLst>
        <p:guide orient="horz" pos="2141"/>
        <p:guide pos="31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úlio César Chaves" userId="3f913fe9-3202-435d-b9f5-b2fca763184f" providerId="ADAL" clId="{DBAFF615-EBBE-46BF-8065-7129DD2D044E}"/>
    <pc:docChg chg="undo custSel modSld">
      <pc:chgData name="Júlio César Chaves" userId="3f913fe9-3202-435d-b9f5-b2fca763184f" providerId="ADAL" clId="{DBAFF615-EBBE-46BF-8065-7129DD2D044E}" dt="2021-08-23T14:26:40.333" v="1522"/>
      <pc:docMkLst>
        <pc:docMk/>
      </pc:docMkLst>
      <pc:sldChg chg="modSp mod">
        <pc:chgData name="Júlio César Chaves" userId="3f913fe9-3202-435d-b9f5-b2fca763184f" providerId="ADAL" clId="{DBAFF615-EBBE-46BF-8065-7129DD2D044E}" dt="2021-08-23T14:26:40.333" v="1522"/>
        <pc:sldMkLst>
          <pc:docMk/>
          <pc:sldMk cId="2095847117" sldId="414"/>
        </pc:sldMkLst>
        <pc:spChg chg="mod">
          <ac:chgData name="Júlio César Chaves" userId="3f913fe9-3202-435d-b9f5-b2fca763184f" providerId="ADAL" clId="{DBAFF615-EBBE-46BF-8065-7129DD2D044E}" dt="2021-08-23T12:59:50.543" v="1253" actId="20577"/>
          <ac:spMkLst>
            <pc:docMk/>
            <pc:sldMk cId="2095847117" sldId="414"/>
            <ac:spMk id="8" creationId="{00000000-0000-0000-0000-000000000000}"/>
          </ac:spMkLst>
        </pc:spChg>
        <pc:spChg chg="mod">
          <ac:chgData name="Júlio César Chaves" userId="3f913fe9-3202-435d-b9f5-b2fca763184f" providerId="ADAL" clId="{DBAFF615-EBBE-46BF-8065-7129DD2D044E}" dt="2021-08-23T12:58:28.203" v="1195" actId="20577"/>
          <ac:spMkLst>
            <pc:docMk/>
            <pc:sldMk cId="2095847117" sldId="414"/>
            <ac:spMk id="9" creationId="{00000000-0000-0000-0000-000000000000}"/>
          </ac:spMkLst>
        </pc:spChg>
        <pc:spChg chg="mod">
          <ac:chgData name="Júlio César Chaves" userId="3f913fe9-3202-435d-b9f5-b2fca763184f" providerId="ADAL" clId="{DBAFF615-EBBE-46BF-8065-7129DD2D044E}" dt="2021-08-23T12:56:01.190" v="996" actId="14100"/>
          <ac:spMkLst>
            <pc:docMk/>
            <pc:sldMk cId="2095847117" sldId="414"/>
            <ac:spMk id="11" creationId="{00000000-0000-0000-0000-000000000000}"/>
          </ac:spMkLst>
        </pc:spChg>
        <pc:spChg chg="mod">
          <ac:chgData name="Júlio César Chaves" userId="3f913fe9-3202-435d-b9f5-b2fca763184f" providerId="ADAL" clId="{DBAFF615-EBBE-46BF-8065-7129DD2D044E}" dt="2021-08-23T12:48:47.822" v="358" actId="20577"/>
          <ac:spMkLst>
            <pc:docMk/>
            <pc:sldMk cId="2095847117" sldId="414"/>
            <ac:spMk id="24" creationId="{00000000-0000-0000-0000-000000000000}"/>
          </ac:spMkLst>
        </pc:spChg>
        <pc:spChg chg="mod">
          <ac:chgData name="Júlio César Chaves" userId="3f913fe9-3202-435d-b9f5-b2fca763184f" providerId="ADAL" clId="{DBAFF615-EBBE-46BF-8065-7129DD2D044E}" dt="2021-08-23T12:59:16.758" v="1232" actId="20577"/>
          <ac:spMkLst>
            <pc:docMk/>
            <pc:sldMk cId="2095847117" sldId="414"/>
            <ac:spMk id="27" creationId="{00000000-0000-0000-0000-000000000000}"/>
          </ac:spMkLst>
        </pc:spChg>
        <pc:spChg chg="mod">
          <ac:chgData name="Júlio César Chaves" userId="3f913fe9-3202-435d-b9f5-b2fca763184f" providerId="ADAL" clId="{DBAFF615-EBBE-46BF-8065-7129DD2D044E}" dt="2021-08-23T12:57:12.896" v="1121" actId="20577"/>
          <ac:spMkLst>
            <pc:docMk/>
            <pc:sldMk cId="2095847117" sldId="414"/>
            <ac:spMk id="29" creationId="{00000000-0000-0000-0000-000000000000}"/>
          </ac:spMkLst>
        </pc:spChg>
        <pc:spChg chg="mod">
          <ac:chgData name="Júlio César Chaves" userId="3f913fe9-3202-435d-b9f5-b2fca763184f" providerId="ADAL" clId="{DBAFF615-EBBE-46BF-8065-7129DD2D044E}" dt="2021-08-23T14:25:02.554" v="1517" actId="20577"/>
          <ac:spMkLst>
            <pc:docMk/>
            <pc:sldMk cId="2095847117" sldId="414"/>
            <ac:spMk id="31" creationId="{00000000-0000-0000-0000-000000000000}"/>
          </ac:spMkLst>
        </pc:spChg>
        <pc:spChg chg="mod">
          <ac:chgData name="Júlio César Chaves" userId="3f913fe9-3202-435d-b9f5-b2fca763184f" providerId="ADAL" clId="{DBAFF615-EBBE-46BF-8065-7129DD2D044E}" dt="2021-08-23T14:26:40.333" v="1522"/>
          <ac:spMkLst>
            <pc:docMk/>
            <pc:sldMk cId="2095847117" sldId="414"/>
            <ac:spMk id="41" creationId="{9E0C25BA-1DF5-4D05-8BB4-F08746CCFE10}"/>
          </ac:spMkLst>
        </pc:spChg>
        <pc:spChg chg="mod">
          <ac:chgData name="Júlio César Chaves" userId="3f913fe9-3202-435d-b9f5-b2fca763184f" providerId="ADAL" clId="{DBAFF615-EBBE-46BF-8065-7129DD2D044E}" dt="2021-08-23T12:46:35.965" v="206" actId="20577"/>
          <ac:spMkLst>
            <pc:docMk/>
            <pc:sldMk cId="2095847117" sldId="414"/>
            <ac:spMk id="44" creationId="{F773BA2B-8BF9-4178-AC08-0C4EF0D46BA8}"/>
          </ac:spMkLst>
        </pc:spChg>
      </pc:sldChg>
    </pc:docChg>
  </pc:docChgLst>
  <pc:docChgLst>
    <pc:chgData name="Júlio César Chaves" userId="3f913fe9-3202-435d-b9f5-b2fca763184f" providerId="ADAL" clId="{CF3F9CED-88B8-4530-B136-5BF3FEE7B4FD}"/>
    <pc:docChg chg="addSld modSld">
      <pc:chgData name="Júlio César Chaves" userId="3f913fe9-3202-435d-b9f5-b2fca763184f" providerId="ADAL" clId="{CF3F9CED-88B8-4530-B136-5BF3FEE7B4FD}" dt="2021-09-02T20:56:32.946" v="9" actId="14100"/>
      <pc:docMkLst>
        <pc:docMk/>
      </pc:docMkLst>
      <pc:sldChg chg="addSp modSp new mod">
        <pc:chgData name="Júlio César Chaves" userId="3f913fe9-3202-435d-b9f5-b2fca763184f" providerId="ADAL" clId="{CF3F9CED-88B8-4530-B136-5BF3FEE7B4FD}" dt="2021-09-02T20:56:32.946" v="9" actId="14100"/>
        <pc:sldMkLst>
          <pc:docMk/>
          <pc:sldMk cId="1905276373" sldId="415"/>
        </pc:sldMkLst>
        <pc:spChg chg="add mod">
          <ac:chgData name="Júlio César Chaves" userId="3f913fe9-3202-435d-b9f5-b2fca763184f" providerId="ADAL" clId="{CF3F9CED-88B8-4530-B136-5BF3FEE7B4FD}" dt="2021-09-02T20:50:54.516" v="2"/>
          <ac:spMkLst>
            <pc:docMk/>
            <pc:sldMk cId="1905276373" sldId="415"/>
            <ac:spMk id="3" creationId="{8106389A-2CD9-4E60-B81F-E3FA81BE783A}"/>
          </ac:spMkLst>
        </pc:spChg>
        <pc:spChg chg="add mod">
          <ac:chgData name="Júlio César Chaves" userId="3f913fe9-3202-435d-b9f5-b2fca763184f" providerId="ADAL" clId="{CF3F9CED-88B8-4530-B136-5BF3FEE7B4FD}" dt="2021-09-02T20:51:57.036" v="5" actId="14100"/>
          <ac:spMkLst>
            <pc:docMk/>
            <pc:sldMk cId="1905276373" sldId="415"/>
            <ac:spMk id="5" creationId="{1DCDADFB-9ABD-45F5-BFFE-1ACF82848DBB}"/>
          </ac:spMkLst>
        </pc:spChg>
        <pc:spChg chg="add">
          <ac:chgData name="Júlio César Chaves" userId="3f913fe9-3202-435d-b9f5-b2fca763184f" providerId="ADAL" clId="{CF3F9CED-88B8-4530-B136-5BF3FEE7B4FD}" dt="2021-09-02T20:52:19.802" v="6" actId="22"/>
          <ac:spMkLst>
            <pc:docMk/>
            <pc:sldMk cId="1905276373" sldId="415"/>
            <ac:spMk id="7" creationId="{84E1586E-B176-4388-95CB-7D7DBAC8847A}"/>
          </ac:spMkLst>
        </pc:spChg>
        <pc:spChg chg="add mod">
          <ac:chgData name="Júlio César Chaves" userId="3f913fe9-3202-435d-b9f5-b2fca763184f" providerId="ADAL" clId="{CF3F9CED-88B8-4530-B136-5BF3FEE7B4FD}" dt="2021-09-02T20:56:32.946" v="9" actId="14100"/>
          <ac:spMkLst>
            <pc:docMk/>
            <pc:sldMk cId="1905276373" sldId="415"/>
            <ac:spMk id="9" creationId="{A549EC25-38A1-412B-BB2F-9482CA1B70CC}"/>
          </ac:spMkLst>
        </pc:spChg>
      </pc:sldChg>
    </pc:docChg>
  </pc:docChgLst>
  <pc:docChgLst>
    <pc:chgData name="Júlio César Chaves" userId="3f913fe9-3202-435d-b9f5-b2fca763184f" providerId="ADAL" clId="{309923E2-15E3-4705-AA14-47654CF18D0C}"/>
    <pc:docChg chg="custSel delSld modSld modMainMaster">
      <pc:chgData name="Júlio César Chaves" userId="3f913fe9-3202-435d-b9f5-b2fca763184f" providerId="ADAL" clId="{309923E2-15E3-4705-AA14-47654CF18D0C}" dt="2023-03-06T11:14:03.342" v="65" actId="20577"/>
      <pc:docMkLst>
        <pc:docMk/>
      </pc:docMkLst>
      <pc:sldChg chg="delSp modSp mod">
        <pc:chgData name="Júlio César Chaves" userId="3f913fe9-3202-435d-b9f5-b2fca763184f" providerId="ADAL" clId="{309923E2-15E3-4705-AA14-47654CF18D0C}" dt="2023-03-06T11:14:03.342" v="65" actId="20577"/>
        <pc:sldMkLst>
          <pc:docMk/>
          <pc:sldMk cId="2095847117" sldId="414"/>
        </pc:sldMkLst>
        <pc:spChg chg="mod">
          <ac:chgData name="Júlio César Chaves" userId="3f913fe9-3202-435d-b9f5-b2fca763184f" providerId="ADAL" clId="{309923E2-15E3-4705-AA14-47654CF18D0C}" dt="2023-03-06T11:14:03.342" v="65" actId="20577"/>
          <ac:spMkLst>
            <pc:docMk/>
            <pc:sldMk cId="2095847117" sldId="414"/>
            <ac:spMk id="9" creationId="{00000000-0000-0000-0000-000000000000}"/>
          </ac:spMkLst>
        </pc:spChg>
        <pc:spChg chg="mod">
          <ac:chgData name="Júlio César Chaves" userId="3f913fe9-3202-435d-b9f5-b2fca763184f" providerId="ADAL" clId="{309923E2-15E3-4705-AA14-47654CF18D0C}" dt="2023-03-06T11:13:45.416" v="56" actId="20577"/>
          <ac:spMkLst>
            <pc:docMk/>
            <pc:sldMk cId="2095847117" sldId="414"/>
            <ac:spMk id="11" creationId="{00000000-0000-0000-0000-000000000000}"/>
          </ac:spMkLst>
        </pc:spChg>
        <pc:spChg chg="mod">
          <ac:chgData name="Júlio César Chaves" userId="3f913fe9-3202-435d-b9f5-b2fca763184f" providerId="ADAL" clId="{309923E2-15E3-4705-AA14-47654CF18D0C}" dt="2023-03-06T11:13:10.195" v="16" actId="20577"/>
          <ac:spMkLst>
            <pc:docMk/>
            <pc:sldMk cId="2095847117" sldId="414"/>
            <ac:spMk id="24" creationId="{00000000-0000-0000-0000-000000000000}"/>
          </ac:spMkLst>
        </pc:spChg>
        <pc:spChg chg="mod">
          <ac:chgData name="Júlio César Chaves" userId="3f913fe9-3202-435d-b9f5-b2fca763184f" providerId="ADAL" clId="{309923E2-15E3-4705-AA14-47654CF18D0C}" dt="2023-03-06T11:13:39.643" v="52" actId="20577"/>
          <ac:spMkLst>
            <pc:docMk/>
            <pc:sldMk cId="2095847117" sldId="414"/>
            <ac:spMk id="27" creationId="{00000000-0000-0000-0000-000000000000}"/>
          </ac:spMkLst>
        </pc:spChg>
        <pc:spChg chg="del">
          <ac:chgData name="Júlio César Chaves" userId="3f913fe9-3202-435d-b9f5-b2fca763184f" providerId="ADAL" clId="{309923E2-15E3-4705-AA14-47654CF18D0C}" dt="2023-03-06T11:13:54.497" v="57" actId="478"/>
          <ac:spMkLst>
            <pc:docMk/>
            <pc:sldMk cId="2095847117" sldId="414"/>
            <ac:spMk id="38" creationId="{E0B4F58E-2DB7-480A-ABB2-7CAABD21BD49}"/>
          </ac:spMkLst>
        </pc:spChg>
        <pc:spChg chg="del">
          <ac:chgData name="Júlio César Chaves" userId="3f913fe9-3202-435d-b9f5-b2fca763184f" providerId="ADAL" clId="{309923E2-15E3-4705-AA14-47654CF18D0C}" dt="2023-03-06T11:13:54.497" v="57" actId="478"/>
          <ac:spMkLst>
            <pc:docMk/>
            <pc:sldMk cId="2095847117" sldId="414"/>
            <ac:spMk id="39" creationId="{A0A62AD0-D281-472C-A646-74F636894570}"/>
          </ac:spMkLst>
        </pc:spChg>
        <pc:spChg chg="mod">
          <ac:chgData name="Júlio César Chaves" userId="3f913fe9-3202-435d-b9f5-b2fca763184f" providerId="ADAL" clId="{309923E2-15E3-4705-AA14-47654CF18D0C}" dt="2023-03-06T11:13:17.659" v="30" actId="20577"/>
          <ac:spMkLst>
            <pc:docMk/>
            <pc:sldMk cId="2095847117" sldId="414"/>
            <ac:spMk id="42" creationId="{00000000-0000-0000-0000-000000000000}"/>
          </ac:spMkLst>
        </pc:spChg>
      </pc:sldChg>
      <pc:sldChg chg="del">
        <pc:chgData name="Júlio César Chaves" userId="3f913fe9-3202-435d-b9f5-b2fca763184f" providerId="ADAL" clId="{309923E2-15E3-4705-AA14-47654CF18D0C}" dt="2023-03-06T11:12:56.664" v="1" actId="47"/>
        <pc:sldMkLst>
          <pc:docMk/>
          <pc:sldMk cId="1905276373" sldId="415"/>
        </pc:sldMkLst>
      </pc:sldChg>
      <pc:sldMasterChg chg="delSp mod">
        <pc:chgData name="Júlio César Chaves" userId="3f913fe9-3202-435d-b9f5-b2fca763184f" providerId="ADAL" clId="{309923E2-15E3-4705-AA14-47654CF18D0C}" dt="2023-03-06T11:12:44.863" v="0" actId="478"/>
        <pc:sldMasterMkLst>
          <pc:docMk/>
          <pc:sldMasterMk cId="0" sldId="2147483648"/>
        </pc:sldMasterMkLst>
        <pc:picChg chg="del">
          <ac:chgData name="Júlio César Chaves" userId="3f913fe9-3202-435d-b9f5-b2fca763184f" providerId="ADAL" clId="{309923E2-15E3-4705-AA14-47654CF18D0C}" dt="2023-03-06T11:12:44.863" v="0" actId="478"/>
          <ac:picMkLst>
            <pc:docMk/>
            <pc:sldMasterMk cId="0" sldId="2147483648"/>
            <ac:picMk id="7" creationId="{00000000-0000-0000-0000-000000000000}"/>
          </ac:picMkLst>
        </pc:picChg>
      </pc:sldMasterChg>
    </pc:docChg>
  </pc:docChgLst>
  <pc:docChgLst>
    <pc:chgData name="Cristiana Valente Meneses" userId="345535ea-53c0-4b5f-acee-328bfc75a748" providerId="ADAL" clId="{6BFE9CDB-CA57-46CF-9F59-9EDA6786A6FA}"/>
    <pc:docChg chg="custSel delSld modSld">
      <pc:chgData name="Cristiana Valente Meneses" userId="345535ea-53c0-4b5f-acee-328bfc75a748" providerId="ADAL" clId="{6BFE9CDB-CA57-46CF-9F59-9EDA6786A6FA}" dt="2021-08-19T18:39:26.782" v="71" actId="1076"/>
      <pc:docMkLst>
        <pc:docMk/>
      </pc:docMkLst>
      <pc:sldChg chg="addSp delSp modSp mod">
        <pc:chgData name="Cristiana Valente Meneses" userId="345535ea-53c0-4b5f-acee-328bfc75a748" providerId="ADAL" clId="{6BFE9CDB-CA57-46CF-9F59-9EDA6786A6FA}" dt="2021-08-19T18:39:26.782" v="71" actId="1076"/>
        <pc:sldMkLst>
          <pc:docMk/>
          <pc:sldMk cId="2095847117" sldId="414"/>
        </pc:sldMkLst>
        <pc:spChg chg="del">
          <ac:chgData name="Cristiana Valente Meneses" userId="345535ea-53c0-4b5f-acee-328bfc75a748" providerId="ADAL" clId="{6BFE9CDB-CA57-46CF-9F59-9EDA6786A6FA}" dt="2021-08-19T18:33:08.943" v="61" actId="478"/>
          <ac:spMkLst>
            <pc:docMk/>
            <pc:sldMk cId="2095847117" sldId="414"/>
            <ac:spMk id="2" creationId="{CEA2D091-0D9E-4956-870A-A6E09BD4C42F}"/>
          </ac:spMkLst>
        </pc:spChg>
        <pc:spChg chg="add mod ord">
          <ac:chgData name="Cristiana Valente Meneses" userId="345535ea-53c0-4b5f-acee-328bfc75a748" providerId="ADAL" clId="{6BFE9CDB-CA57-46CF-9F59-9EDA6786A6FA}" dt="2021-08-19T18:39:23.166" v="70" actId="167"/>
          <ac:spMkLst>
            <pc:docMk/>
            <pc:sldMk cId="2095847117" sldId="414"/>
            <ac:spMk id="4" creationId="{73A6A966-7DC5-460C-B4BA-B4CAC742DF2D}"/>
          </ac:spMkLst>
        </pc:spChg>
        <pc:spChg chg="mod">
          <ac:chgData name="Cristiana Valente Meneses" userId="345535ea-53c0-4b5f-acee-328bfc75a748" providerId="ADAL" clId="{6BFE9CDB-CA57-46CF-9F59-9EDA6786A6FA}" dt="2021-08-19T18:30:39.560" v="9" actId="1036"/>
          <ac:spMkLst>
            <pc:docMk/>
            <pc:sldMk cId="2095847117" sldId="414"/>
            <ac:spMk id="8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9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10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13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49.443" v="11" actId="1076"/>
          <ac:spMkLst>
            <pc:docMk/>
            <pc:sldMk cId="2095847117" sldId="414"/>
            <ac:spMk id="17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18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22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24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26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27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28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29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30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31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32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2:36.106" v="58" actId="1076"/>
          <ac:spMkLst>
            <pc:docMk/>
            <pc:sldMk cId="2095847117" sldId="414"/>
            <ac:spMk id="33" creationId="{00000000-0000-0000-0000-000000000000}"/>
          </ac:spMkLst>
        </pc:spChg>
        <pc:spChg chg="del">
          <ac:chgData name="Cristiana Valente Meneses" userId="345535ea-53c0-4b5f-acee-328bfc75a748" providerId="ADAL" clId="{6BFE9CDB-CA57-46CF-9F59-9EDA6786A6FA}" dt="2021-08-19T18:31:40.068" v="37" actId="478"/>
          <ac:spMkLst>
            <pc:docMk/>
            <pc:sldMk cId="2095847117" sldId="414"/>
            <ac:spMk id="34" creationId="{4A39482E-9E2F-46F4-86F3-A19D06F9D1C0}"/>
          </ac:spMkLst>
        </pc:spChg>
        <pc:spChg chg="mod">
          <ac:chgData name="Cristiana Valente Meneses" userId="345535ea-53c0-4b5f-acee-328bfc75a748" providerId="ADAL" clId="{6BFE9CDB-CA57-46CF-9F59-9EDA6786A6FA}" dt="2021-08-19T18:30:39.560" v="9" actId="1036"/>
          <ac:spMkLst>
            <pc:docMk/>
            <pc:sldMk cId="2095847117" sldId="414"/>
            <ac:spMk id="36" creationId="{E81E230B-DE43-4EE6-BE9C-868372DE8011}"/>
          </ac:spMkLst>
        </pc:spChg>
        <pc:spChg chg="mod">
          <ac:chgData name="Cristiana Valente Meneses" userId="345535ea-53c0-4b5f-acee-328bfc75a748" providerId="ADAL" clId="{6BFE9CDB-CA57-46CF-9F59-9EDA6786A6FA}" dt="2021-08-19T18:32:28.934" v="57" actId="1036"/>
          <ac:spMkLst>
            <pc:docMk/>
            <pc:sldMk cId="2095847117" sldId="414"/>
            <ac:spMk id="37" creationId="{F98D8C07-BD89-4270-875C-1CD2D6FC2EB1}"/>
          </ac:spMkLst>
        </pc:spChg>
        <pc:spChg chg="mod">
          <ac:chgData name="Cristiana Valente Meneses" userId="345535ea-53c0-4b5f-acee-328bfc75a748" providerId="ADAL" clId="{6BFE9CDB-CA57-46CF-9F59-9EDA6786A6FA}" dt="2021-08-19T18:30:39.560" v="9" actId="1036"/>
          <ac:spMkLst>
            <pc:docMk/>
            <pc:sldMk cId="2095847117" sldId="414"/>
            <ac:spMk id="38" creationId="{E0B4F58E-2DB7-480A-ABB2-7CAABD21BD49}"/>
          </ac:spMkLst>
        </pc:spChg>
        <pc:spChg chg="mod">
          <ac:chgData name="Cristiana Valente Meneses" userId="345535ea-53c0-4b5f-acee-328bfc75a748" providerId="ADAL" clId="{6BFE9CDB-CA57-46CF-9F59-9EDA6786A6FA}" dt="2021-08-19T18:32:28.934" v="57" actId="1036"/>
          <ac:spMkLst>
            <pc:docMk/>
            <pc:sldMk cId="2095847117" sldId="414"/>
            <ac:spMk id="39" creationId="{A0A62AD0-D281-472C-A646-74F636894570}"/>
          </ac:spMkLst>
        </pc:spChg>
        <pc:spChg chg="add mod">
          <ac:chgData name="Cristiana Valente Meneses" userId="345535ea-53c0-4b5f-acee-328bfc75a748" providerId="ADAL" clId="{6BFE9CDB-CA57-46CF-9F59-9EDA6786A6FA}" dt="2021-08-19T18:32:47.986" v="60" actId="1076"/>
          <ac:spMkLst>
            <pc:docMk/>
            <pc:sldMk cId="2095847117" sldId="414"/>
            <ac:spMk id="40" creationId="{95DB27A0-2A7C-423D-8D45-47FC0D428C26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41" creationId="{9E0C25BA-1DF5-4D05-8BB4-F08746CCFE1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42" creationId="{00000000-0000-0000-0000-000000000000}"/>
          </ac:spMkLst>
        </pc:spChg>
        <pc:spChg chg="mod">
          <ac:chgData name="Cristiana Valente Meneses" userId="345535ea-53c0-4b5f-acee-328bfc75a748" providerId="ADAL" clId="{6BFE9CDB-CA57-46CF-9F59-9EDA6786A6FA}" dt="2021-08-19T18:30:23.907" v="6" actId="1036"/>
          <ac:spMkLst>
            <pc:docMk/>
            <pc:sldMk cId="2095847117" sldId="414"/>
            <ac:spMk id="43" creationId="{AEB520D7-EB3E-48C3-875C-0D0A835CDBD9}"/>
          </ac:spMkLst>
        </pc:spChg>
        <pc:spChg chg="add mod">
          <ac:chgData name="Cristiana Valente Meneses" userId="345535ea-53c0-4b5f-acee-328bfc75a748" providerId="ADAL" clId="{6BFE9CDB-CA57-46CF-9F59-9EDA6786A6FA}" dt="2021-08-19T18:39:26.782" v="71" actId="1076"/>
          <ac:spMkLst>
            <pc:docMk/>
            <pc:sldMk cId="2095847117" sldId="414"/>
            <ac:spMk id="44" creationId="{F773BA2B-8BF9-4178-AC08-0C4EF0D46BA8}"/>
          </ac:spMkLst>
        </pc:spChg>
        <pc:cxnChg chg="mod">
          <ac:chgData name="Cristiana Valente Meneses" userId="345535ea-53c0-4b5f-acee-328bfc75a748" providerId="ADAL" clId="{6BFE9CDB-CA57-46CF-9F59-9EDA6786A6FA}" dt="2021-08-19T18:30:58.347" v="13" actId="1036"/>
          <ac:cxnSpMkLst>
            <pc:docMk/>
            <pc:sldMk cId="2095847117" sldId="414"/>
            <ac:cxnSpMk id="15" creationId="{00000000-0000-0000-0000-000000000000}"/>
          </ac:cxnSpMkLst>
        </pc:cxnChg>
        <pc:cxnChg chg="mod">
          <ac:chgData name="Cristiana Valente Meneses" userId="345535ea-53c0-4b5f-acee-328bfc75a748" providerId="ADAL" clId="{6BFE9CDB-CA57-46CF-9F59-9EDA6786A6FA}" dt="2021-08-19T18:31:03.780" v="16" actId="1035"/>
          <ac:cxnSpMkLst>
            <pc:docMk/>
            <pc:sldMk cId="2095847117" sldId="414"/>
            <ac:cxnSpMk id="16" creationId="{00000000-0000-0000-0000-000000000000}"/>
          </ac:cxnSpMkLst>
        </pc:cxnChg>
        <pc:cxnChg chg="mod">
          <ac:chgData name="Cristiana Valente Meneses" userId="345535ea-53c0-4b5f-acee-328bfc75a748" providerId="ADAL" clId="{6BFE9CDB-CA57-46CF-9F59-9EDA6786A6FA}" dt="2021-08-19T18:31:07.961" v="18" actId="1035"/>
          <ac:cxnSpMkLst>
            <pc:docMk/>
            <pc:sldMk cId="2095847117" sldId="414"/>
            <ac:cxnSpMk id="23" creationId="{00000000-0000-0000-0000-000000000000}"/>
          </ac:cxnSpMkLst>
        </pc:cxnChg>
        <pc:cxnChg chg="mod">
          <ac:chgData name="Cristiana Valente Meneses" userId="345535ea-53c0-4b5f-acee-328bfc75a748" providerId="ADAL" clId="{6BFE9CDB-CA57-46CF-9F59-9EDA6786A6FA}" dt="2021-08-19T18:32:24.130" v="56" actId="1076"/>
          <ac:cxnSpMkLst>
            <pc:docMk/>
            <pc:sldMk cId="2095847117" sldId="414"/>
            <ac:cxnSpMk id="35" creationId="{20E2EB66-14E8-4523-818D-E9D0C5D93A6D}"/>
          </ac:cxnSpMkLst>
        </pc:cxnChg>
      </pc:sldChg>
      <pc:sldChg chg="del">
        <pc:chgData name="Cristiana Valente Meneses" userId="345535ea-53c0-4b5f-acee-328bfc75a748" providerId="ADAL" clId="{6BFE9CDB-CA57-46CF-9F59-9EDA6786A6FA}" dt="2021-08-18T15:09:46.646" v="4" actId="47"/>
        <pc:sldMkLst>
          <pc:docMk/>
          <pc:sldMk cId="3787335919" sldId="416"/>
        </pc:sldMkLst>
      </pc:sldChg>
      <pc:sldChg chg="del">
        <pc:chgData name="Cristiana Valente Meneses" userId="345535ea-53c0-4b5f-acee-328bfc75a748" providerId="ADAL" clId="{6BFE9CDB-CA57-46CF-9F59-9EDA6786A6FA}" dt="2021-08-18T15:09:46.646" v="4" actId="47"/>
        <pc:sldMkLst>
          <pc:docMk/>
          <pc:sldMk cId="4198264766" sldId="418"/>
        </pc:sldMkLst>
      </pc:sldChg>
      <pc:sldChg chg="del">
        <pc:chgData name="Cristiana Valente Meneses" userId="345535ea-53c0-4b5f-acee-328bfc75a748" providerId="ADAL" clId="{6BFE9CDB-CA57-46CF-9F59-9EDA6786A6FA}" dt="2021-08-18T15:09:39.347" v="0" actId="47"/>
        <pc:sldMkLst>
          <pc:docMk/>
          <pc:sldMk cId="3709104556" sldId="942"/>
        </pc:sldMkLst>
      </pc:sldChg>
      <pc:sldChg chg="del">
        <pc:chgData name="Cristiana Valente Meneses" userId="345535ea-53c0-4b5f-acee-328bfc75a748" providerId="ADAL" clId="{6BFE9CDB-CA57-46CF-9F59-9EDA6786A6FA}" dt="2021-08-18T15:09:40.543" v="2" actId="47"/>
        <pc:sldMkLst>
          <pc:docMk/>
          <pc:sldMk cId="3764836856" sldId="1094"/>
        </pc:sldMkLst>
      </pc:sldChg>
      <pc:sldChg chg="del">
        <pc:chgData name="Cristiana Valente Meneses" userId="345535ea-53c0-4b5f-acee-328bfc75a748" providerId="ADAL" clId="{6BFE9CDB-CA57-46CF-9F59-9EDA6786A6FA}" dt="2021-08-18T15:09:39.828" v="1" actId="47"/>
        <pc:sldMkLst>
          <pc:docMk/>
          <pc:sldMk cId="3420264572" sldId="1095"/>
        </pc:sldMkLst>
      </pc:sldChg>
      <pc:sldChg chg="del">
        <pc:chgData name="Cristiana Valente Meneses" userId="345535ea-53c0-4b5f-acee-328bfc75a748" providerId="ADAL" clId="{6BFE9CDB-CA57-46CF-9F59-9EDA6786A6FA}" dt="2021-08-18T15:09:41.310" v="3" actId="47"/>
        <pc:sldMkLst>
          <pc:docMk/>
          <pc:sldMk cId="933096953" sldId="1096"/>
        </pc:sldMkLst>
      </pc:sldChg>
      <pc:sldChg chg="del">
        <pc:chgData name="Cristiana Valente Meneses" userId="345535ea-53c0-4b5f-acee-328bfc75a748" providerId="ADAL" clId="{6BFE9CDB-CA57-46CF-9F59-9EDA6786A6FA}" dt="2021-08-18T15:09:46.646" v="4" actId="47"/>
        <pc:sldMkLst>
          <pc:docMk/>
          <pc:sldMk cId="3204958589" sldId="1097"/>
        </pc:sldMkLst>
      </pc:sldChg>
      <pc:sldChg chg="del">
        <pc:chgData name="Cristiana Valente Meneses" userId="345535ea-53c0-4b5f-acee-328bfc75a748" providerId="ADAL" clId="{6BFE9CDB-CA57-46CF-9F59-9EDA6786A6FA}" dt="2021-08-18T15:09:46.646" v="4" actId="47"/>
        <pc:sldMkLst>
          <pc:docMk/>
          <pc:sldMk cId="604501225" sldId="1099"/>
        </pc:sldMkLst>
      </pc:sldChg>
      <pc:sldChg chg="del">
        <pc:chgData name="Cristiana Valente Meneses" userId="345535ea-53c0-4b5f-acee-328bfc75a748" providerId="ADAL" clId="{6BFE9CDB-CA57-46CF-9F59-9EDA6786A6FA}" dt="2021-08-18T15:09:46.646" v="4" actId="47"/>
        <pc:sldMkLst>
          <pc:docMk/>
          <pc:sldMk cId="683606052" sldId="1100"/>
        </pc:sldMkLst>
      </pc:sldChg>
      <pc:sldMasterChg chg="delSldLayout">
        <pc:chgData name="Cristiana Valente Meneses" userId="345535ea-53c0-4b5f-acee-328bfc75a748" providerId="ADAL" clId="{6BFE9CDB-CA57-46CF-9F59-9EDA6786A6FA}" dt="2021-08-18T15:09:46.646" v="4" actId="47"/>
        <pc:sldMasterMkLst>
          <pc:docMk/>
          <pc:sldMasterMk cId="0" sldId="2147483648"/>
        </pc:sldMasterMkLst>
        <pc:sldLayoutChg chg="del">
          <pc:chgData name="Cristiana Valente Meneses" userId="345535ea-53c0-4b5f-acee-328bfc75a748" providerId="ADAL" clId="{6BFE9CDB-CA57-46CF-9F59-9EDA6786A6FA}" dt="2021-08-18T15:09:46.646" v="4" actId="47"/>
          <pc:sldLayoutMkLst>
            <pc:docMk/>
            <pc:sldMasterMk cId="0" sldId="2147483648"/>
            <pc:sldLayoutMk cId="2958587794" sldId="2147483662"/>
          </pc:sldLayoutMkLst>
        </pc:sldLayoutChg>
      </pc:sldMasterChg>
    </pc:docChg>
  </pc:docChgLst>
  <pc:docChgLst>
    <pc:chgData name="Júlio César Chaves" userId="3f913fe9-3202-435d-b9f5-b2fca763184f" providerId="ADAL" clId="{AB4B0E72-D26A-4FB3-B139-5B3AC2ABFE91}"/>
    <pc:docChg chg="modSld">
      <pc:chgData name="Júlio César Chaves" userId="3f913fe9-3202-435d-b9f5-b2fca763184f" providerId="ADAL" clId="{AB4B0E72-D26A-4FB3-B139-5B3AC2ABFE91}" dt="2021-10-04T14:31:17.167" v="0" actId="20577"/>
      <pc:docMkLst>
        <pc:docMk/>
      </pc:docMkLst>
      <pc:sldChg chg="modSp mod">
        <pc:chgData name="Júlio César Chaves" userId="3f913fe9-3202-435d-b9f5-b2fca763184f" providerId="ADAL" clId="{AB4B0E72-D26A-4FB3-B139-5B3AC2ABFE91}" dt="2021-10-04T14:31:17.167" v="0" actId="20577"/>
        <pc:sldMkLst>
          <pc:docMk/>
          <pc:sldMk cId="2095847117" sldId="414"/>
        </pc:sldMkLst>
        <pc:spChg chg="mod">
          <ac:chgData name="Júlio César Chaves" userId="3f913fe9-3202-435d-b9f5-b2fca763184f" providerId="ADAL" clId="{AB4B0E72-D26A-4FB3-B139-5B3AC2ABFE91}" dt="2021-10-04T14:31:17.167" v="0" actId="20577"/>
          <ac:spMkLst>
            <pc:docMk/>
            <pc:sldMk cId="2095847117" sldId="414"/>
            <ac:spMk id="41" creationId="{9E0C25BA-1DF5-4D05-8BB4-F08746CCFE10}"/>
          </ac:spMkLst>
        </pc:spChg>
      </pc:sldChg>
    </pc:docChg>
  </pc:docChgLst>
  <pc:docChgLst>
    <pc:chgData name="Júlio César Chaves" userId="3f913fe9-3202-435d-b9f5-b2fca763184f" providerId="ADAL" clId="{7633CAA7-17AF-4A0D-B6E4-9314701DCB12}"/>
    <pc:docChg chg="modSld">
      <pc:chgData name="Júlio César Chaves" userId="3f913fe9-3202-435d-b9f5-b2fca763184f" providerId="ADAL" clId="{7633CAA7-17AF-4A0D-B6E4-9314701DCB12}" dt="2021-09-06T12:48:36.897" v="0" actId="729"/>
      <pc:docMkLst>
        <pc:docMk/>
      </pc:docMkLst>
      <pc:sldChg chg="mod modShow">
        <pc:chgData name="Júlio César Chaves" userId="3f913fe9-3202-435d-b9f5-b2fca763184f" providerId="ADAL" clId="{7633CAA7-17AF-4A0D-B6E4-9314701DCB12}" dt="2021-09-06T12:48:36.897" v="0" actId="729"/>
        <pc:sldMkLst>
          <pc:docMk/>
          <pc:sldMk cId="1905276373" sldId="415"/>
        </pc:sldMkLst>
      </pc:sldChg>
    </pc:docChg>
  </pc:docChgLst>
  <pc:docChgLst>
    <pc:chgData name="Júlio César Chaves" userId="3f913fe9-3202-435d-b9f5-b2fca763184f" providerId="ADAL" clId="{F214736D-1038-4A11-84F6-519B4DA712AD}"/>
    <pc:docChg chg="custSel modSld">
      <pc:chgData name="Júlio César Chaves" userId="3f913fe9-3202-435d-b9f5-b2fca763184f" providerId="ADAL" clId="{F214736D-1038-4A11-84F6-519B4DA712AD}" dt="2021-08-23T12:31:40.596" v="1055" actId="1076"/>
      <pc:docMkLst>
        <pc:docMk/>
      </pc:docMkLst>
      <pc:sldChg chg="delSp modSp mod">
        <pc:chgData name="Júlio César Chaves" userId="3f913fe9-3202-435d-b9f5-b2fca763184f" providerId="ADAL" clId="{F214736D-1038-4A11-84F6-519B4DA712AD}" dt="2021-08-23T12:31:40.596" v="1055" actId="1076"/>
        <pc:sldMkLst>
          <pc:docMk/>
          <pc:sldMk cId="2095847117" sldId="414"/>
        </pc:sldMkLst>
        <pc:spChg chg="mod">
          <ac:chgData name="Júlio César Chaves" userId="3f913fe9-3202-435d-b9f5-b2fca763184f" providerId="ADAL" clId="{F214736D-1038-4A11-84F6-519B4DA712AD}" dt="2021-08-23T12:21:57.208" v="132" actId="20577"/>
          <ac:spMkLst>
            <pc:docMk/>
            <pc:sldMk cId="2095847117" sldId="414"/>
            <ac:spMk id="8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24:01.416" v="353" actId="20577"/>
          <ac:spMkLst>
            <pc:docMk/>
            <pc:sldMk cId="2095847117" sldId="414"/>
            <ac:spMk id="9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25:56.233" v="564" actId="20577"/>
          <ac:spMkLst>
            <pc:docMk/>
            <pc:sldMk cId="2095847117" sldId="414"/>
            <ac:spMk id="11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31:32.289" v="1053" actId="1076"/>
          <ac:spMkLst>
            <pc:docMk/>
            <pc:sldMk cId="2095847117" sldId="414"/>
            <ac:spMk id="21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31:27.037" v="1052" actId="1076"/>
          <ac:spMkLst>
            <pc:docMk/>
            <pc:sldMk cId="2095847117" sldId="414"/>
            <ac:spMk id="22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31:40.596" v="1055" actId="1076"/>
          <ac:spMkLst>
            <pc:docMk/>
            <pc:sldMk cId="2095847117" sldId="414"/>
            <ac:spMk id="24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30:57.896" v="1049" actId="20577"/>
          <ac:spMkLst>
            <pc:docMk/>
            <pc:sldMk cId="2095847117" sldId="414"/>
            <ac:spMk id="27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28:15.734" v="787" actId="20577"/>
          <ac:spMkLst>
            <pc:docMk/>
            <pc:sldMk cId="2095847117" sldId="414"/>
            <ac:spMk id="29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29:07.862" v="911" actId="20577"/>
          <ac:spMkLst>
            <pc:docMk/>
            <pc:sldMk cId="2095847117" sldId="414"/>
            <ac:spMk id="31" creationId="{00000000-0000-0000-0000-000000000000}"/>
          </ac:spMkLst>
        </pc:spChg>
        <pc:spChg chg="mod">
          <ac:chgData name="Júlio César Chaves" userId="3f913fe9-3202-435d-b9f5-b2fca763184f" providerId="ADAL" clId="{F214736D-1038-4A11-84F6-519B4DA712AD}" dt="2021-08-23T12:22:09.740" v="142" actId="20577"/>
          <ac:spMkLst>
            <pc:docMk/>
            <pc:sldMk cId="2095847117" sldId="414"/>
            <ac:spMk id="36" creationId="{E81E230B-DE43-4EE6-BE9C-868372DE8011}"/>
          </ac:spMkLst>
        </pc:spChg>
        <pc:spChg chg="mod">
          <ac:chgData name="Júlio César Chaves" userId="3f913fe9-3202-435d-b9f5-b2fca763184f" providerId="ADAL" clId="{F214736D-1038-4A11-84F6-519B4DA712AD}" dt="2021-08-23T12:22:18.292" v="144" actId="20577"/>
          <ac:spMkLst>
            <pc:docMk/>
            <pc:sldMk cId="2095847117" sldId="414"/>
            <ac:spMk id="38" creationId="{E0B4F58E-2DB7-480A-ABB2-7CAABD21BD49}"/>
          </ac:spMkLst>
        </pc:spChg>
        <pc:spChg chg="mod">
          <ac:chgData name="Júlio César Chaves" userId="3f913fe9-3202-435d-b9f5-b2fca763184f" providerId="ADAL" clId="{F214736D-1038-4A11-84F6-519B4DA712AD}" dt="2021-08-23T12:31:35.783" v="1054" actId="1076"/>
          <ac:spMkLst>
            <pc:docMk/>
            <pc:sldMk cId="2095847117" sldId="414"/>
            <ac:spMk id="41" creationId="{9E0C25BA-1DF5-4D05-8BB4-F08746CCFE10}"/>
          </ac:spMkLst>
        </pc:spChg>
        <pc:spChg chg="mod">
          <ac:chgData name="Júlio César Chaves" userId="3f913fe9-3202-435d-b9f5-b2fca763184f" providerId="ADAL" clId="{F214736D-1038-4A11-84F6-519B4DA712AD}" dt="2021-08-23T12:31:40.596" v="1055" actId="1076"/>
          <ac:spMkLst>
            <pc:docMk/>
            <pc:sldMk cId="2095847117" sldId="414"/>
            <ac:spMk id="42" creationId="{00000000-0000-0000-0000-000000000000}"/>
          </ac:spMkLst>
        </pc:spChg>
        <pc:spChg chg="del">
          <ac:chgData name="Júlio César Chaves" userId="3f913fe9-3202-435d-b9f5-b2fca763184f" providerId="ADAL" clId="{F214736D-1038-4A11-84F6-519B4DA712AD}" dt="2021-08-23T12:31:19.975" v="1050" actId="478"/>
          <ac:spMkLst>
            <pc:docMk/>
            <pc:sldMk cId="2095847117" sldId="414"/>
            <ac:spMk id="43" creationId="{AEB520D7-EB3E-48C3-875C-0D0A835CDBD9}"/>
          </ac:spMkLst>
        </pc:spChg>
        <pc:spChg chg="mod">
          <ac:chgData name="Júlio César Chaves" userId="3f913fe9-3202-435d-b9f5-b2fca763184f" providerId="ADAL" clId="{F214736D-1038-4A11-84F6-519B4DA712AD}" dt="2021-08-23T12:21:32.871" v="60" actId="20577"/>
          <ac:spMkLst>
            <pc:docMk/>
            <pc:sldMk cId="2095847117" sldId="414"/>
            <ac:spMk id="44" creationId="{F773BA2B-8BF9-4178-AC08-0C4EF0D46BA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5582393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C98552B0-D47D-4278-86CF-97703A2BF473}" type="datetimeFigureOut">
              <a:rPr lang="pt-BR" smtClean="0"/>
              <a:pPr/>
              <a:t>11/04/2023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2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5582393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D6FD9516-C56B-41D9-8CB5-333897752FD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040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582393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82264973-C03B-49FA-A69C-7002816C9ADD}" type="datetimeFigureOut">
              <a:rPr lang="pt-BR" smtClean="0"/>
              <a:pPr/>
              <a:t>11/04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228975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86574" y="3229362"/>
            <a:ext cx="7883646" cy="3058722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2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582393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577DE5FD-BBBC-4CC2-A737-4D923790E522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97169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DD30-DDCE-406C-AA38-A84A0F00F2BD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4521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F4A97-0758-4224-ADDD-2DB046EE0AB4}" type="datetime1">
              <a:rPr lang="pt-BR" smtClean="0"/>
              <a:pPr/>
              <a:t>11/04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961C7-C200-4B1D-9336-65B5A9B830F7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C8FAA-9EAE-4B88-BD91-8ABAE1E9D9D5}" type="datetime1">
              <a:rPr lang="pt-BR" smtClean="0"/>
              <a:pPr/>
              <a:t>11/04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37ED2-B3B1-4D5F-90B1-29FE02B40D93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C3898-80F5-48B5-9605-AE9FF8990875}" type="datetimeFigureOut">
              <a:rPr lang="es-MX" smtClean="0"/>
              <a:pPr/>
              <a:t>11/04/2023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B358D-8CF8-45D5-B1E6-A1CDC930D7B6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06671661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298906-720D-4F80-B152-AAAC47210D58}" type="datetime1">
              <a:rPr lang="pt-BR" smtClean="0"/>
              <a:pPr/>
              <a:t>11/04/2023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413AF-5C79-473A-8A6B-8828FED935C1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8599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298906-720D-4F80-B152-AAAC47210D58}" type="datetime1">
              <a:rPr lang="pt-BR" smtClean="0"/>
              <a:pPr/>
              <a:t>11/04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413AF-5C79-473A-8A6B-8828FED935C1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6446" y="692696"/>
            <a:ext cx="755576" cy="144016"/>
          </a:xfrm>
          <a:prstGeom prst="rect">
            <a:avLst/>
          </a:prstGeom>
          <a:solidFill>
            <a:srgbClr val="41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8221" y="692696"/>
            <a:ext cx="8273554" cy="144000"/>
          </a:xfrm>
          <a:prstGeom prst="rect">
            <a:avLst/>
          </a:prstGeom>
          <a:solidFill>
            <a:srgbClr val="1C2F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63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298906-720D-4F80-B152-AAAC47210D58}" type="datetime1">
              <a:rPr lang="pt-BR" smtClean="0"/>
              <a:pPr/>
              <a:t>11/04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413AF-5C79-473A-8A6B-8828FED935C1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09964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73A6A966-7DC5-460C-B4BA-B4CAC742DF2D}"/>
              </a:ext>
            </a:extLst>
          </p:cNvPr>
          <p:cNvSpPr/>
          <p:nvPr/>
        </p:nvSpPr>
        <p:spPr>
          <a:xfrm>
            <a:off x="0" y="661158"/>
            <a:ext cx="9135983" cy="2924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de cantos arredondados 7"/>
          <p:cNvSpPr/>
          <p:nvPr/>
        </p:nvSpPr>
        <p:spPr bwMode="auto">
          <a:xfrm>
            <a:off x="68239" y="1451738"/>
            <a:ext cx="4548058" cy="60871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Elaborar um projeto com a finalidade de modelar sistemas de apoio à decisão para análise de receitas da CFB Farmácia.</a:t>
            </a:r>
          </a:p>
        </p:txBody>
      </p:sp>
      <p:sp>
        <p:nvSpPr>
          <p:cNvPr id="9" name="Retângulo de cantos arredondados 8"/>
          <p:cNvSpPr/>
          <p:nvPr/>
        </p:nvSpPr>
        <p:spPr bwMode="auto">
          <a:xfrm>
            <a:off x="42011" y="2587355"/>
            <a:ext cx="4408228" cy="136864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Estruturar o banco de dados da farmácia.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Criar um arquivo Excel, conectado ao banco de dados, com funcionalidades para auxiliar na análise de receitas.</a:t>
            </a:r>
          </a:p>
        </p:txBody>
      </p:sp>
      <p:sp>
        <p:nvSpPr>
          <p:cNvPr id="10" name="Retângulo de cantos arredondados 9"/>
          <p:cNvSpPr/>
          <p:nvPr/>
        </p:nvSpPr>
        <p:spPr bwMode="auto">
          <a:xfrm>
            <a:off x="779781" y="2454184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O que está no escopo do projeto</a:t>
            </a:r>
          </a:p>
        </p:txBody>
      </p:sp>
      <p:sp>
        <p:nvSpPr>
          <p:cNvPr id="11" name="Retângulo de cantos arredondados 10"/>
          <p:cNvSpPr/>
          <p:nvPr/>
        </p:nvSpPr>
        <p:spPr bwMode="auto">
          <a:xfrm>
            <a:off x="4616297" y="2419999"/>
            <a:ext cx="4408228" cy="153599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Ter controle dos fornecedores.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Considerar ofertas e promoções.</a:t>
            </a:r>
          </a:p>
        </p:txBody>
      </p:sp>
      <p:sp>
        <p:nvSpPr>
          <p:cNvPr id="13" name="Retângulo de cantos arredondados 12"/>
          <p:cNvSpPr/>
          <p:nvPr/>
        </p:nvSpPr>
        <p:spPr bwMode="auto">
          <a:xfrm>
            <a:off x="5323146" y="2280391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O que </a:t>
            </a:r>
            <a:r>
              <a:rPr lang="pt-BR" sz="1200" b="1" u="sng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não</a:t>
            </a: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 está no escopo do projeto</a:t>
            </a:r>
          </a:p>
        </p:txBody>
      </p:sp>
      <p:cxnSp>
        <p:nvCxnSpPr>
          <p:cNvPr id="15" name="Conector reto 14"/>
          <p:cNvCxnSpPr/>
          <p:nvPr/>
        </p:nvCxnSpPr>
        <p:spPr bwMode="auto">
          <a:xfrm>
            <a:off x="-56268" y="2132856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ector reto 15"/>
          <p:cNvCxnSpPr/>
          <p:nvPr/>
        </p:nvCxnSpPr>
        <p:spPr bwMode="auto">
          <a:xfrm>
            <a:off x="-22864" y="4005064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tângulo de cantos arredondados 16"/>
          <p:cNvSpPr/>
          <p:nvPr/>
        </p:nvSpPr>
        <p:spPr bwMode="auto">
          <a:xfrm>
            <a:off x="131799" y="2196605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scopo</a:t>
            </a:r>
          </a:p>
        </p:txBody>
      </p:sp>
      <p:sp>
        <p:nvSpPr>
          <p:cNvPr id="18" name="Retângulo de cantos arredondados 17"/>
          <p:cNvSpPr/>
          <p:nvPr/>
        </p:nvSpPr>
        <p:spPr bwMode="auto">
          <a:xfrm>
            <a:off x="78887" y="4063487"/>
            <a:ext cx="2916000" cy="256126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Marcos - Premissas/Restrições</a:t>
            </a:r>
          </a:p>
        </p:txBody>
      </p:sp>
      <p:sp>
        <p:nvSpPr>
          <p:cNvPr id="21" name="Retângulo de cantos arredondados 20"/>
          <p:cNvSpPr/>
          <p:nvPr/>
        </p:nvSpPr>
        <p:spPr bwMode="auto">
          <a:xfrm>
            <a:off x="3473064" y="6120747"/>
            <a:ext cx="2196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Data de Início: </a:t>
            </a:r>
            <a:r>
              <a:rPr lang="pt-BR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13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Arial" pitchFamily="34" charset="0"/>
              </a:rPr>
              <a:t>/03/2023</a:t>
            </a: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2" name="Retângulo de cantos arredondados 21"/>
          <p:cNvSpPr/>
          <p:nvPr/>
        </p:nvSpPr>
        <p:spPr bwMode="auto">
          <a:xfrm>
            <a:off x="3473064" y="6475600"/>
            <a:ext cx="2196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Data de Término: </a:t>
            </a:r>
            <a:r>
              <a:rPr lang="pt-BR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12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Arial" pitchFamily="34" charset="0"/>
              </a:rPr>
              <a:t>/04/2023</a:t>
            </a: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 </a:t>
            </a:r>
          </a:p>
        </p:txBody>
      </p:sp>
      <p:cxnSp>
        <p:nvCxnSpPr>
          <p:cNvPr id="23" name="Conector reto 22"/>
          <p:cNvCxnSpPr/>
          <p:nvPr/>
        </p:nvCxnSpPr>
        <p:spPr bwMode="auto">
          <a:xfrm>
            <a:off x="-22864" y="5774314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tângulo de cantos arredondados 23"/>
          <p:cNvSpPr/>
          <p:nvPr/>
        </p:nvSpPr>
        <p:spPr bwMode="auto">
          <a:xfrm>
            <a:off x="131799" y="6117255"/>
            <a:ext cx="3132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Patrocinadores</a:t>
            </a: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: 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Arial" pitchFamily="34" charset="0"/>
              </a:rPr>
              <a:t> </a:t>
            </a:r>
            <a:r>
              <a:rPr lang="pt-BR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CFB Farmácia</a:t>
            </a:r>
            <a:endParaRPr kumimoji="0" lang="pt-B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6" name="Retângulo de cantos arredondados 25"/>
          <p:cNvSpPr/>
          <p:nvPr/>
        </p:nvSpPr>
        <p:spPr bwMode="auto">
          <a:xfrm>
            <a:off x="138746" y="5828874"/>
            <a:ext cx="2762298" cy="23955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nformações Complementares</a:t>
            </a:r>
          </a:p>
        </p:txBody>
      </p:sp>
      <p:sp>
        <p:nvSpPr>
          <p:cNvPr id="27" name="Retângulo de cantos arredondados 26"/>
          <p:cNvSpPr/>
          <p:nvPr/>
        </p:nvSpPr>
        <p:spPr bwMode="auto">
          <a:xfrm>
            <a:off x="5879265" y="6058327"/>
            <a:ext cx="2880000" cy="76134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Grupo </a:t>
            </a:r>
            <a:r>
              <a:rPr lang="pt-BR" sz="1100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Flatlético</a:t>
            </a: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28" name="Retângulo de cantos arredondados 27"/>
          <p:cNvSpPr/>
          <p:nvPr/>
        </p:nvSpPr>
        <p:spPr bwMode="auto">
          <a:xfrm>
            <a:off x="6460097" y="5960092"/>
            <a:ext cx="165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Equipe Alocada</a:t>
            </a:r>
            <a:endParaRPr lang="pt-BR" sz="1200" b="1" i="1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tângulo de cantos arredondados 41"/>
          <p:cNvSpPr/>
          <p:nvPr/>
        </p:nvSpPr>
        <p:spPr bwMode="auto">
          <a:xfrm>
            <a:off x="138746" y="6443365"/>
            <a:ext cx="3132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Líder</a:t>
            </a: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 do Projeto: 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Arial" pitchFamily="34" charset="0"/>
              </a:rPr>
              <a:t> Tatiana Lage</a:t>
            </a:r>
          </a:p>
        </p:txBody>
      </p:sp>
      <p:sp>
        <p:nvSpPr>
          <p:cNvPr id="29" name="Retângulo de cantos arredondados 28"/>
          <p:cNvSpPr/>
          <p:nvPr/>
        </p:nvSpPr>
        <p:spPr bwMode="auto">
          <a:xfrm>
            <a:off x="68239" y="4509329"/>
            <a:ext cx="4408228" cy="1224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Criação da Modelagem Informacional de Requisitos.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Criação do Modelo Conceitual ER.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Criação do Modelo Lógico Relacional.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Criação do Modelo Dimensional.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Implantação do Banco de Dados Operacional.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Apresentação do projeto.</a:t>
            </a:r>
          </a:p>
        </p:txBody>
      </p:sp>
      <p:sp>
        <p:nvSpPr>
          <p:cNvPr id="30" name="Retângulo de cantos arredondados 29"/>
          <p:cNvSpPr/>
          <p:nvPr/>
        </p:nvSpPr>
        <p:spPr bwMode="auto">
          <a:xfrm>
            <a:off x="715371" y="4372851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Principal </a:t>
            </a:r>
            <a:r>
              <a:rPr lang="pt-BR" sz="1200" b="1" i="1" dirty="0" err="1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Milestone</a:t>
            </a: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 / </a:t>
            </a:r>
            <a:r>
              <a:rPr lang="pt-BR" sz="1200" b="1" i="1" dirty="0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Gates</a:t>
            </a:r>
          </a:p>
        </p:txBody>
      </p:sp>
      <p:sp>
        <p:nvSpPr>
          <p:cNvPr id="31" name="Retângulo de cantos arredondados 30"/>
          <p:cNvSpPr/>
          <p:nvPr/>
        </p:nvSpPr>
        <p:spPr bwMode="auto">
          <a:xfrm>
            <a:off x="4577032" y="4496517"/>
            <a:ext cx="4408228" cy="1224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100" dirty="0">
                <a:solidFill>
                  <a:schemeClr val="bg2">
                    <a:lumMod val="50000"/>
                  </a:schemeClr>
                </a:solidFill>
                <a:latin typeface="+mj-lt"/>
                <a:cs typeface="Arial" pitchFamily="34" charset="0"/>
              </a:rPr>
              <a:t>Premissas – Utilização dos dados já existentes da CFB Farmácia quanto ao seu quadro de funcionários, produtos, clientes e histórico de transação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100" dirty="0">
                <a:solidFill>
                  <a:schemeClr val="bg2">
                    <a:lumMod val="50000"/>
                  </a:schemeClr>
                </a:solidFill>
                <a:latin typeface="+mj-lt"/>
                <a:cs typeface="Arial" pitchFamily="34" charset="0"/>
              </a:rPr>
              <a:t>Restrições –  Não suporta moedas além do Real. Os produtos se limitam apenas aos comercializados </a:t>
            </a:r>
            <a:r>
              <a:rPr lang="pt-BR" sz="1100">
                <a:solidFill>
                  <a:schemeClr val="bg2">
                    <a:lumMod val="50000"/>
                  </a:schemeClr>
                </a:solidFill>
                <a:latin typeface="+mj-lt"/>
                <a:cs typeface="Arial" pitchFamily="34" charset="0"/>
              </a:rPr>
              <a:t>pela farmácia.</a:t>
            </a: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tângulo de cantos arredondados 31"/>
          <p:cNvSpPr/>
          <p:nvPr/>
        </p:nvSpPr>
        <p:spPr bwMode="auto">
          <a:xfrm>
            <a:off x="5323146" y="4362315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 Premissas/Restrições</a:t>
            </a:r>
            <a:endParaRPr lang="pt-BR" sz="1200" b="1" i="1" dirty="0">
              <a:solidFill>
                <a:schemeClr val="tx1">
                  <a:lumMod val="60000"/>
                  <a:lumOff val="40000"/>
                </a:schemeClr>
              </a:solidFill>
              <a:cs typeface="Arial" pitchFamily="34" charset="0"/>
            </a:endParaRPr>
          </a:p>
        </p:txBody>
      </p: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20E2EB66-14E8-4523-818D-E9D0C5D93A6D}"/>
              </a:ext>
            </a:extLst>
          </p:cNvPr>
          <p:cNvCxnSpPr/>
          <p:nvPr/>
        </p:nvCxnSpPr>
        <p:spPr bwMode="auto">
          <a:xfrm>
            <a:off x="-22864" y="1058237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Retângulo de cantos arredondados 32"/>
          <p:cNvSpPr/>
          <p:nvPr/>
        </p:nvSpPr>
        <p:spPr bwMode="auto">
          <a:xfrm>
            <a:off x="77114" y="1187381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bjetivo</a:t>
            </a:r>
          </a:p>
        </p:txBody>
      </p:sp>
      <p:sp>
        <p:nvSpPr>
          <p:cNvPr id="36" name="Retângulo de cantos arredondados 7">
            <a:extLst>
              <a:ext uri="{FF2B5EF4-FFF2-40B4-BE49-F238E27FC236}">
                <a16:creationId xmlns:a16="http://schemas.microsoft.com/office/drawing/2014/main" id="{E81E230B-DE43-4EE6-BE9C-868372DE8011}"/>
              </a:ext>
            </a:extLst>
          </p:cNvPr>
          <p:cNvSpPr/>
          <p:nvPr/>
        </p:nvSpPr>
        <p:spPr bwMode="auto">
          <a:xfrm>
            <a:off x="4703638" y="1452133"/>
            <a:ext cx="1812578" cy="60871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100" b="0" i="0" u="none" strike="noStrike" cap="none" normalizeH="0" baseline="0" dirty="0" err="1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Flatlético</a:t>
            </a:r>
            <a:endParaRPr kumimoji="0" lang="pt-BR" sz="1100" b="0" i="0" u="none" strike="noStrike" cap="none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37" name="Retângulo de cantos arredondados 32">
            <a:extLst>
              <a:ext uri="{FF2B5EF4-FFF2-40B4-BE49-F238E27FC236}">
                <a16:creationId xmlns:a16="http://schemas.microsoft.com/office/drawing/2014/main" id="{F98D8C07-BD89-4270-875C-1CD2D6FC2EB1}"/>
              </a:ext>
            </a:extLst>
          </p:cNvPr>
          <p:cNvSpPr/>
          <p:nvPr/>
        </p:nvSpPr>
        <p:spPr bwMode="auto">
          <a:xfrm>
            <a:off x="4831378" y="1170662"/>
            <a:ext cx="1557097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05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nidade – Frente TIC</a:t>
            </a:r>
          </a:p>
        </p:txBody>
      </p:sp>
      <p:sp>
        <p:nvSpPr>
          <p:cNvPr id="40" name="Retângulo de cantos arredondados 32">
            <a:extLst>
              <a:ext uri="{FF2B5EF4-FFF2-40B4-BE49-F238E27FC236}">
                <a16:creationId xmlns:a16="http://schemas.microsoft.com/office/drawing/2014/main" id="{95DB27A0-2A7C-423D-8D45-47FC0D428C26}"/>
              </a:ext>
            </a:extLst>
          </p:cNvPr>
          <p:cNvSpPr/>
          <p:nvPr/>
        </p:nvSpPr>
        <p:spPr bwMode="auto">
          <a:xfrm>
            <a:off x="68239" y="116657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Nome  do Projeto</a:t>
            </a:r>
          </a:p>
        </p:txBody>
      </p:sp>
      <p:sp>
        <p:nvSpPr>
          <p:cNvPr id="44" name="Retângulo de cantos arredondados 7">
            <a:extLst>
              <a:ext uri="{FF2B5EF4-FFF2-40B4-BE49-F238E27FC236}">
                <a16:creationId xmlns:a16="http://schemas.microsoft.com/office/drawing/2014/main" id="{F773BA2B-8BF9-4178-AC08-0C4EF0D46BA8}"/>
              </a:ext>
            </a:extLst>
          </p:cNvPr>
          <p:cNvSpPr/>
          <p:nvPr/>
        </p:nvSpPr>
        <p:spPr bwMode="auto">
          <a:xfrm>
            <a:off x="68239" y="410976"/>
            <a:ext cx="3631244" cy="60871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100" b="0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Projeto de implementação da CFB Farmácia</a:t>
            </a:r>
          </a:p>
        </p:txBody>
      </p:sp>
    </p:spTree>
    <p:extLst>
      <p:ext uri="{BB962C8B-B14F-4D97-AF65-F5344CB8AC3E}">
        <p14:creationId xmlns:p14="http://schemas.microsoft.com/office/powerpoint/2010/main" val="209584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9C8404EF82A8B4187D039D4159CC3A1" ma:contentTypeVersion="2" ma:contentTypeDescription="Crie um novo documento." ma:contentTypeScope="" ma:versionID="cb5af2995fa653e0478f46d6c4708fd4">
  <xsd:schema xmlns:xsd="http://www.w3.org/2001/XMLSchema" xmlns:xs="http://www.w3.org/2001/XMLSchema" xmlns:p="http://schemas.microsoft.com/office/2006/metadata/properties" xmlns:ns3="9c1b3d8e-718c-490c-80a5-8a3a41a64dfb" targetNamespace="http://schemas.microsoft.com/office/2006/metadata/properties" ma:root="true" ma:fieldsID="22c6571d347fc507bc97615ecb45c423" ns3:_="">
    <xsd:import namespace="9c1b3d8e-718c-490c-80a5-8a3a41a64df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1b3d8e-718c-490c-80a5-8a3a41a64d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A0C596-A6B4-482A-8933-F5D4EA8369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1b3d8e-718c-490c-80a5-8a3a41a64d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68DE2BE-D141-45E8-AF8E-79603F1C4452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9c1b3d8e-718c-490c-80a5-8a3a41a64dfb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42D38D0-E869-41A5-853D-4F90D407FC4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2207</TotalTime>
  <Words>214</Words>
  <Application>Microsoft Office PowerPoint</Application>
  <PresentationFormat>Apresentação na tela (4:3)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6" baseType="lpstr">
      <vt:lpstr>Arial</vt:lpstr>
      <vt:lpstr>Calibri</vt:lpstr>
      <vt:lpstr>Tema do Office</vt:lpstr>
      <vt:lpstr>1_Tema do Office</vt:lpstr>
      <vt:lpstr>think-cell Slide</vt:lpstr>
      <vt:lpstr>Apresentação do PowerPoint</vt:lpstr>
    </vt:vector>
  </TitlesOfParts>
  <Company>FGV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retoria de Operações - Projetos de Investimentos</dc:title>
  <dc:subject>Análise Ferramentas - Projeto Consolida</dc:subject>
  <dc:creator>Ricardo Guth</dc:creator>
  <cp:lastModifiedBy>Rodrigo Dhery Silva Prieto</cp:lastModifiedBy>
  <cp:revision>3730</cp:revision>
  <cp:lastPrinted>2016-07-18T20:41:00Z</cp:lastPrinted>
  <dcterms:created xsi:type="dcterms:W3CDTF">2010-07-19T18:54:19Z</dcterms:created>
  <dcterms:modified xsi:type="dcterms:W3CDTF">2023-04-12T03:2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C8404EF82A8B4187D039D4159CC3A1</vt:lpwstr>
  </property>
  <property fmtid="{D5CDD505-2E9C-101B-9397-08002B2CF9AE}" pid="3" name="_dlc_DocIdItemGuid">
    <vt:lpwstr>23120032-f056-4a62-9b74-69e9b0f68596</vt:lpwstr>
  </property>
</Properties>
</file>